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/>
    <p:restoredTop sz="94646"/>
  </p:normalViewPr>
  <p:slideViewPr>
    <p:cSldViewPr snapToGrid="0" snapToObjects="1">
      <p:cViewPr varScale="1">
        <p:scale>
          <a:sx n="109" d="100"/>
          <a:sy n="109" d="100"/>
        </p:scale>
        <p:origin x="68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14956-2757-2244-8615-CDD5F76558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C8EB37-DD3A-2D43-89B2-D5613936AC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19E98-D9C4-934E-882C-5E0C14B778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B8EBA8-A0E3-E14D-8F16-901C2267C8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D75A3C-3DCE-8A41-9A6A-FEDCC9654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1785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4536F-37A8-9B44-8909-8A38F9C1D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953FFF-2724-FF4B-A914-487EBC541C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6CFF7C-0073-1C4E-80C0-F7BF1C93B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7A5F15-583A-3643-AA1E-BAA527FFD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BB829-4159-814D-A062-283859865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844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C82BAA-6EAC-6F49-AC54-B73BFBFAF1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316EC0-B318-954D-A340-75A001153C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FD416D-8251-D140-8B26-3D5F18E1AF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1054EB-843E-A346-80F7-4163ADCA5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522DB5-087D-8A42-9CD2-9D3773DDC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3754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24AE0-1967-0442-9219-FED004BE1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710D34-6CE8-254D-954B-071D58C2F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9BC53-859B-7C42-9492-967A1A1623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3D1763-38DC-2D4F-9F8B-CDF84C8A7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1E8AB6-1246-E24E-9860-E8E23C55B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1657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8C1342-E340-4743-B594-1F14D5957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B25CAC-69A5-AA4B-9CAF-B01DF4F67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0D7698-D43D-4746-9E99-390AD4745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46C199-F779-B14F-9B9C-3FDE4F349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A1E34A-B512-DF44-9E30-BBFD4B7D4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31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4A55E-AF07-E749-967F-9395BABA0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41A4D6-D932-E44D-9469-3C0A5A97F6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5ED478-9233-7E45-A37E-86766EDF7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0013D6-2336-E543-BFFE-59F1B5F0C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FA1CCD-4CB2-8C40-80AA-D20B9ED96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686487-C576-F74E-9E2B-A94C37F97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452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BFFADE-7BC6-1C4B-8826-7F3B55A4A3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534AAB-BA05-6E43-870B-28EC66E6F6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87555C-684A-1C4A-98D3-A69EC5BD68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F1FA7C-62D9-3F4B-A3E0-879C2A7C30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34753A4-D74C-3F42-BE1B-82D9D1A8C7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1C85C9-8E5F-8741-B7EB-40A628A08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864AC6-93E9-1E46-B2B1-45F065A5F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B91747-175D-424D-8ECC-0CF7A6440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393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27C52-2939-C24F-9EEB-9B4157E0D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A9F4FD-B755-594E-8F70-4DCE2C99E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AEDA27-D232-8C43-8B67-9364AF385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640E2F-219F-C944-A4A7-2075E9638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673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115322-1E8F-EB42-8CDF-BFB236381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EDE8A-6BCA-9349-A4BA-BF4A4F9624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F65F5E-A7A0-5544-AA48-66D2127705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255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8E8AC-B9E1-C24C-B61D-AB42649FD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DB8512-2056-884C-B8C6-BDBD30FAF6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5BA680-649D-0149-95C8-F2D3664CC4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F0657C-67DB-A642-8B76-57E1930672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7FA81B-D697-9340-B756-BBBFF23ED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27B5D1-8D65-E047-9707-CA6DFA5DF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519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372E4-B77E-874E-9316-E6696B19F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B4E97D-773F-2C41-9809-FD43478F1DA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C09208-299E-4940-A4EB-759A63FED0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971925-B383-C142-9894-290E5BA07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A2C8D3-03D0-3C4E-9CFA-82D5CAAC5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349C93-20C3-D64B-87D1-D914983B3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460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B3E32-0220-CC46-9BF4-3FBAA3CDE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989255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3AF19B-300D-C54F-B64B-4554AEA5E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E206A8-B416-0349-B772-51773215E7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102F64-CCAD-9844-B482-0C030EA7A5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982B8F-69DD-E24B-809E-D8751985341E}" type="datetimeFigureOut">
              <a:rPr lang="en-US" smtClean="0"/>
              <a:t>5/1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A3CE3B-7DBA-EC46-B6E6-54A056C19F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7874E-16AC-A849-885C-7734FAB16A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2485-E20A-0B42-BD62-4CD7AF8F9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730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A1D79D-6851-5446-AE6E-CE64C2FD1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2406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>
            <a:extLst>
              <a:ext uri="{FF2B5EF4-FFF2-40B4-BE49-F238E27FC236}">
                <a16:creationId xmlns:a16="http://schemas.microsoft.com/office/drawing/2014/main" id="{B44EC67A-6A78-284E-A083-6BE222CEDA91}"/>
              </a:ext>
            </a:extLst>
          </p:cNvPr>
          <p:cNvGrpSpPr/>
          <p:nvPr/>
        </p:nvGrpSpPr>
        <p:grpSpPr>
          <a:xfrm>
            <a:off x="2428874" y="1846632"/>
            <a:ext cx="7185523" cy="3735668"/>
            <a:chOff x="2428874" y="1846632"/>
            <a:chExt cx="7185523" cy="373566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E297221-9230-A040-B22C-7707CE34905C}"/>
                </a:ext>
              </a:extLst>
            </p:cNvPr>
            <p:cNvGrpSpPr/>
            <p:nvPr/>
          </p:nvGrpSpPr>
          <p:grpSpPr>
            <a:xfrm>
              <a:off x="2428874" y="1875692"/>
              <a:ext cx="7185523" cy="3706608"/>
              <a:chOff x="2428874" y="1875692"/>
              <a:chExt cx="7185523" cy="3706608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0C25810C-EE36-3D49-98F2-07147FEF2AB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b="26017"/>
              <a:stretch/>
            </p:blipFill>
            <p:spPr>
              <a:xfrm>
                <a:off x="2428874" y="3429000"/>
                <a:ext cx="7077075" cy="2153300"/>
              </a:xfrm>
              <a:prstGeom prst="rect">
                <a:avLst/>
              </a:prstGeom>
            </p:spPr>
          </p:pic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314C2F0B-D384-6749-87B7-9AB3F18D522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26017"/>
              <a:stretch/>
            </p:blipFill>
            <p:spPr>
              <a:xfrm>
                <a:off x="2577603" y="2032938"/>
                <a:ext cx="7036794" cy="2153300"/>
              </a:xfrm>
              <a:prstGeom prst="rect">
                <a:avLst/>
              </a:prstGeom>
            </p:spPr>
          </p:pic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9056BF91-3B42-FE41-BBDC-2978AEDDD0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22959" y="1875692"/>
                <a:ext cx="0" cy="3449515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3569B9C6-53DB-444B-B04D-036CC7D4D2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44128" y="1875692"/>
                <a:ext cx="0" cy="346123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28D9D518-5F35-6046-84E7-609EC48302CD}"/>
                  </a:ext>
                </a:extLst>
              </p:cNvPr>
              <p:cNvSpPr txBox="1"/>
              <p:nvPr/>
            </p:nvSpPr>
            <p:spPr>
              <a:xfrm>
                <a:off x="2846202" y="3600449"/>
                <a:ext cx="172354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latin typeface="Helvetica" pitchFamily="2" charset="0"/>
                  </a:rPr>
                  <a:t>Initial Structure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722063F-6B0A-F94E-B408-1AECB4474958}"/>
                  </a:ext>
                </a:extLst>
              </p:cNvPr>
              <p:cNvSpPr txBox="1"/>
              <p:nvPr/>
            </p:nvSpPr>
            <p:spPr>
              <a:xfrm>
                <a:off x="4922959" y="3497118"/>
                <a:ext cx="235194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Helvetica" pitchFamily="2" charset="0"/>
                  </a:rPr>
                  <a:t>Optimized Structure (Avogadro)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EE1E97A4-102B-0A45-8F2C-09C5FFF7BC64}"/>
                  </a:ext>
                </a:extLst>
              </p:cNvPr>
              <p:cNvSpPr txBox="1"/>
              <p:nvPr/>
            </p:nvSpPr>
            <p:spPr>
              <a:xfrm>
                <a:off x="7202008" y="3518512"/>
                <a:ext cx="235194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Helvetica" pitchFamily="2" charset="0"/>
                  </a:rPr>
                  <a:t>Globally Optimized Structure (Julia)</a:t>
                </a: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661C0E2-210A-7C41-8264-CFA0AC1EEC19}"/>
                </a:ext>
              </a:extLst>
            </p:cNvPr>
            <p:cNvSpPr txBox="1"/>
            <p:nvPr/>
          </p:nvSpPr>
          <p:spPr>
            <a:xfrm>
              <a:off x="4194488" y="1846632"/>
              <a:ext cx="7505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latin typeface="Helvetica" pitchFamily="2" charset="0"/>
                </a:rPr>
                <a:t>Top vie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7C80C36-C407-1C43-B567-196096ACB1EC}"/>
                </a:ext>
              </a:extLst>
            </p:cNvPr>
            <p:cNvSpPr txBox="1"/>
            <p:nvPr/>
          </p:nvSpPr>
          <p:spPr>
            <a:xfrm>
              <a:off x="4159608" y="5067716"/>
              <a:ext cx="763351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latin typeface="Helvetica" pitchFamily="2" charset="0"/>
                </a:rPr>
                <a:t>Side 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4206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7</Words>
  <Application>Microsoft Macintosh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Helvetica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veen T Arunachalam</dc:creator>
  <cp:lastModifiedBy>Naveen T Arunachalam</cp:lastModifiedBy>
  <cp:revision>1</cp:revision>
  <dcterms:created xsi:type="dcterms:W3CDTF">2022-05-12T00:45:32Z</dcterms:created>
  <dcterms:modified xsi:type="dcterms:W3CDTF">2022-05-12T00:49:47Z</dcterms:modified>
</cp:coreProperties>
</file>